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4"/>
  </p:notesMasterIdLst>
  <p:sldIdLst>
    <p:sldId id="259" r:id="rId2"/>
    <p:sldId id="760" r:id="rId3"/>
  </p:sldIdLst>
  <p:sldSz cx="9144000" cy="5145088"/>
  <p:notesSz cx="6858000" cy="9144000"/>
  <p:custDataLst>
    <p:tags r:id="rId5"/>
  </p:custDataLst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F5F5F5"/>
    <a:srgbClr val="707070"/>
    <a:srgbClr val="32374B"/>
    <a:srgbClr val="252525"/>
    <a:srgbClr val="555555"/>
    <a:srgbClr val="999999"/>
    <a:srgbClr val="006BB3"/>
    <a:srgbClr val="AAAAB4"/>
    <a:srgbClr val="6E0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20" autoAdjust="0"/>
    <p:restoredTop sz="80848" autoAdjust="0"/>
  </p:normalViewPr>
  <p:slideViewPr>
    <p:cSldViewPr snapToGrid="0">
      <p:cViewPr varScale="1">
        <p:scale>
          <a:sx n="119" d="100"/>
          <a:sy n="119" d="100"/>
        </p:scale>
        <p:origin x="1398" y="9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29.0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29.01.2019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9.01.20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C64C9F-E788-544C-A804-6304F24F54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078128"/>
            <a:ext cx="7980536" cy="1538883"/>
          </a:xfrm>
        </p:spPr>
        <p:txBody>
          <a:bodyPr/>
          <a:lstStyle/>
          <a:p>
            <a:r>
              <a:rPr lang="nb-NO" dirty="0"/>
              <a:t>Leverandørmøte – oppdatert info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3CB0CCED-E586-5045-A312-C5C81CBF5E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porveien og Rute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9D2EB4C-A6D0-5646-B38C-EBC5E2A223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9E5854-5852-1645-9E0C-F7CD39F4E1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b-NO" dirty="0"/>
              <a:t>28.01.2019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6FDA63D4-8EF6-47B5-95CC-741B9A00D5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624" b="19764"/>
          <a:stretch/>
        </p:blipFill>
        <p:spPr>
          <a:xfrm>
            <a:off x="6083519" y="4484076"/>
            <a:ext cx="1369367" cy="612227"/>
          </a:xfrm>
          <a:prstGeom prst="rect">
            <a:avLst/>
          </a:prstGeom>
        </p:spPr>
      </p:pic>
      <p:pic>
        <p:nvPicPr>
          <p:cNvPr id="2" name="Bilde 1">
            <a:extLst>
              <a:ext uri="{FF2B5EF4-FFF2-40B4-BE49-F238E27FC236}">
                <a16:creationId xmlns:a16="http://schemas.microsoft.com/office/drawing/2014/main" id="{0173101E-F32B-4CD0-BF18-43C66CC62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96554" y="4451384"/>
            <a:ext cx="1182353" cy="66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66201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7A681F7-DBFE-4358-95CB-6FA653B14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7A681F7-DBFE-4358-95CB-6FA653B14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1C3CF704-C894-4D8B-A813-9ACDBB7E5E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422" name="Rectangle 27">
            <a:extLst>
              <a:ext uri="{FF2B5EF4-FFF2-40B4-BE49-F238E27FC236}">
                <a16:creationId xmlns:a16="http://schemas.microsoft.com/office/drawing/2014/main" id="{87092E3B-EBA4-4A5C-A1E7-7E2951CECF43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21134" y="657661"/>
            <a:ext cx="7409208" cy="369332"/>
          </a:xfrm>
          <a:noFill/>
        </p:spPr>
        <p:txBody>
          <a:bodyPr/>
          <a:lstStyle/>
          <a:p>
            <a:r>
              <a:rPr lang="en-GB" altLang="nb-NO" sz="2400" dirty="0"/>
              <a:t>Ny T-</a:t>
            </a:r>
            <a:r>
              <a:rPr lang="en-GB" altLang="nb-NO" sz="2400" dirty="0" err="1"/>
              <a:t>banetunnel</a:t>
            </a:r>
            <a:r>
              <a:rPr lang="en-GB" altLang="nb-NO" sz="2400" dirty="0"/>
              <a:t> </a:t>
            </a:r>
            <a:r>
              <a:rPr lang="en-GB" altLang="nb-NO" sz="2400" dirty="0" err="1"/>
              <a:t>i</a:t>
            </a:r>
            <a:r>
              <a:rPr lang="en-GB" altLang="nb-NO" sz="2400" dirty="0"/>
              <a:t> </a:t>
            </a:r>
            <a:r>
              <a:rPr lang="en-GB" altLang="nb-NO" sz="2400" dirty="0" err="1"/>
              <a:t>sentrum</a:t>
            </a:r>
            <a:endParaRPr lang="en-GB" altLang="nb-NO" sz="2400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C1EC23B1-DA94-4826-879D-EFB91FE50046}"/>
              </a:ext>
            </a:extLst>
          </p:cNvPr>
          <p:cNvSpPr/>
          <p:nvPr/>
        </p:nvSpPr>
        <p:spPr>
          <a:xfrm>
            <a:off x="521134" y="1215349"/>
            <a:ext cx="8194603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/>
              <a:t>På Ruters og Sporveiens leverandørmøte 22.11.2018 sa Ruter at forespørsel på reguleringsplanoppdrag ny T-banetunnel i sentrum planlegges sendt ut Q1-2019.</a:t>
            </a:r>
          </a:p>
          <a:p>
            <a:endParaRPr lang="nb-NO" sz="1400" dirty="0"/>
          </a:p>
          <a:p>
            <a:r>
              <a:rPr lang="nb-NO" sz="1400" dirty="0"/>
              <a:t>Ny T-banetunnel skal behandles av bystyret, trolig i februar. Deretter skal planprogrammet fastsettes. </a:t>
            </a:r>
          </a:p>
          <a:p>
            <a:endParaRPr lang="nb-NO" sz="1400" dirty="0"/>
          </a:p>
          <a:p>
            <a:r>
              <a:rPr lang="nb-NO" sz="1400" dirty="0"/>
              <a:t>Vi vil nå opplyse at Ruter og Sporveien planlegger en felles forespørsel på Reguleringsplan inkl KU, forprosjekt, detaljprosjektering og oppfølging i byggeperioden. </a:t>
            </a:r>
          </a:p>
          <a:p>
            <a:endParaRPr lang="nb-NO" sz="1400" dirty="0"/>
          </a:p>
          <a:p>
            <a:r>
              <a:rPr lang="nb-NO" sz="1400" dirty="0"/>
              <a:t>Forespørselen planlegges sendt ut i Q2-2019.</a:t>
            </a:r>
          </a:p>
          <a:p>
            <a:endParaRPr lang="nb-NO" sz="1400" dirty="0"/>
          </a:p>
          <a:p>
            <a:endParaRPr lang="nb-NO" sz="1400" dirty="0"/>
          </a:p>
          <a:p>
            <a:pPr lvl="0"/>
            <a:endParaRPr lang="nb-NO" sz="2000" dirty="0"/>
          </a:p>
          <a:p>
            <a:pPr lvl="1"/>
            <a:r>
              <a:rPr lang="nb-NO" sz="1400" dirty="0"/>
              <a:t>			</a:t>
            </a:r>
          </a:p>
          <a:p>
            <a:pPr lvl="1"/>
            <a:r>
              <a:rPr lang="nb-NO" sz="1400" dirty="0"/>
              <a:t>	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052B09A7-9E5B-43B7-B270-395AB27C5C3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6991" b="19764"/>
          <a:stretch/>
        </p:blipFill>
        <p:spPr>
          <a:xfrm>
            <a:off x="6235919" y="4458488"/>
            <a:ext cx="1369367" cy="64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1283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4jrqQUQKeqo9pI1KY_0A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542</TotalTime>
  <Words>81</Words>
  <Application>Microsoft Office PowerPoint</Application>
  <PresentationFormat>Egendefinert</PresentationFormat>
  <Paragraphs>16</Paragraphs>
  <Slides>2</Slides>
  <Notes>0</Notes>
  <HiddenSlides>2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6" baseType="lpstr">
      <vt:lpstr>Arial</vt:lpstr>
      <vt:lpstr>Calibri</vt:lpstr>
      <vt:lpstr>Office-tema</vt:lpstr>
      <vt:lpstr>think-cell Slide</vt:lpstr>
      <vt:lpstr>Leverandørmøte – oppdatert info</vt:lpstr>
      <vt:lpstr>Ny T-banetunnel i sentru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verandørmøte</dc:title>
  <dc:creator>Lægran Snorre</dc:creator>
  <dc:description>Template by addpoint.no</dc:description>
  <cp:lastModifiedBy>Lægran Snorre</cp:lastModifiedBy>
  <cp:revision>16</cp:revision>
  <dcterms:created xsi:type="dcterms:W3CDTF">2018-11-16T06:56:56Z</dcterms:created>
  <dcterms:modified xsi:type="dcterms:W3CDTF">2019-01-29T07:5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</Properties>
</file>